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24">
            <a:extLst>
              <a:ext uri="{FF2B5EF4-FFF2-40B4-BE49-F238E27FC236}">
                <a16:creationId xmlns:a16="http://schemas.microsoft.com/office/drawing/2014/main" id="{6DF1979B-B4BE-4890-93EF-6BA53651863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A30DC38E-3723-474F-B9CE-FDA34312DB2B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1D2F5E12-DC7A-4759-A299-A7118BDDF591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A54154BC-6E2C-422C-A8E0-15846E5ABF61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AF3696EE-7B1A-4293-8685-3E96141A3E94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04B333F3-C46A-4FF6-AC5E-7D29FF72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04B333F3-C46A-4FF6-AC5E-7D29FF72A2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66E56888-3837-4D12-BC44-55B5FC3537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pt-BR" altLang="en-US" dirty="0"/>
              <a:t>Opere seu equipamento com seguranç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B211B0E0-B324-4BB9-BB8F-7EDD27DDD80A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pt-BR" altLang="en-US" dirty="0"/>
              <a:t>Migração HMI par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E491365C-49D6-404A-A832-5BCE8EED6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91083C8-22FF-4A79-8FF2-37ACE1EE88DC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fr-FR" sz="800" kern="0" dirty="0" err="1">
                <a:solidFill>
                  <a:srgbClr val="000000"/>
                </a:solidFill>
              </a:rPr>
              <a:t>Obsolescência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sz="800" kern="0" dirty="0" err="1"/>
              <a:t>Eficiência</a:t>
            </a:r>
            <a:r>
              <a:rPr sz="800" kern="0" dirty="0"/>
              <a:t>,</a:t>
            </a:r>
            <a:r>
              <a:rPr lang="fr-FR" sz="800" kern="0" dirty="0"/>
              <a:t> </a:t>
            </a:r>
            <a:r>
              <a:rPr lang="en-US" sz="800" kern="0" dirty="0" err="1">
                <a:solidFill>
                  <a:srgbClr val="000000"/>
                </a:solidFill>
              </a:rPr>
              <a:t>Otimização</a:t>
            </a:r>
            <a:r>
              <a:rPr lang="en-US" sz="800" kern="0" dirty="0">
                <a:solidFill>
                  <a:srgbClr val="000000"/>
                </a:solidFill>
              </a:rPr>
              <a:t> de custos</a:t>
            </a:r>
            <a:r>
              <a:rPr sz="800" kern="0" dirty="0"/>
              <a:t> </a:t>
            </a:r>
          </a:p>
          <a:p>
            <a:pPr>
              <a:defRPr/>
            </a:pPr>
            <a:r>
              <a:rPr sz="800" kern="0" dirty="0" err="1"/>
              <a:t>Equipamento</a:t>
            </a:r>
            <a:r>
              <a:rPr sz="800" kern="0" dirty="0"/>
              <a:t>: </a:t>
            </a:r>
            <a:r>
              <a:rPr lang="fr-FR" sz="800" kern="0" dirty="0"/>
              <a:t>R</a:t>
            </a:r>
            <a:r>
              <a:rPr lang="de-CH" altLang="fr-FR" sz="800" dirty="0" err="1">
                <a:solidFill>
                  <a:srgbClr val="000000"/>
                </a:solidFill>
              </a:rPr>
              <a:t>otuladora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,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 Evolution</a:t>
            </a:r>
            <a:endParaRPr lang="en-US" sz="800" kern="0" dirty="0"/>
          </a:p>
          <a:p>
            <a:pPr>
              <a:defRPr/>
            </a:pPr>
            <a:r>
              <a:rPr sz="800" kern="0" dirty="0" err="1"/>
              <a:t>Catálogo</a:t>
            </a:r>
            <a:r>
              <a:rPr sz="800" kern="0" dirty="0"/>
              <a:t> </a:t>
            </a:r>
            <a:r>
              <a:rPr sz="800" kern="0" dirty="0" err="1"/>
              <a:t>código</a:t>
            </a:r>
            <a:r>
              <a:rPr sz="800" kern="0" dirty="0"/>
              <a:t>: </a:t>
            </a:r>
            <a:r>
              <a:rPr lang="fr-FR" sz="800" kern="0" dirty="0"/>
              <a:t>AX28</a:t>
            </a:r>
            <a:endParaRPr sz="800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9EA863-37B6-49AE-991D-CE684D0F8128}"/>
              </a:ext>
            </a:extLst>
          </p:cNvPr>
          <p:cNvSpPr/>
          <p:nvPr/>
        </p:nvSpPr>
        <p:spPr>
          <a:xfrm>
            <a:off x="647700" y="2193925"/>
            <a:ext cx="3890963" cy="241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ta tempos de inatividade mais longos em caso de falh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sos aprimorados de cibersegurança disponíveis com W10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 mais rápido na inicialização do sistema e operações de toqu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 qualidade de imagem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 resistência ao calor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menta o desempenho e reduz os custos de manutenção</a:t>
            </a: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pt-BR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hora de atualizar para o Windows 10!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FDDFDD-5171-426D-BBF9-EAE04598D107}"/>
              </a:ext>
            </a:extLst>
          </p:cNvPr>
          <p:cNvSpPr/>
          <p:nvPr/>
        </p:nvSpPr>
        <p:spPr>
          <a:xfrm>
            <a:off x="4751389" y="2259383"/>
            <a:ext cx="3858418" cy="210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O novo sistema com painel HMI B&amp;R 2200, baseado em Windows 10, consiste em um novo HMI plug &amp; play com o mesmo tamanho de tela baseado em Windows 10. Inclui criptografia de backup de software e portabilidade da plataforma existente (WCE, W7 ...) para W10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enhuma alteração será aplicada ao layout gráfico, será realizada apenas uma conversão. 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Inclui material de hardware e o documento de procedimentos de instalação. Se uma função cliente-servidor estiver presente, o painel da contraparte também deve ser atualizado.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20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1317FFB4-2345-4026-9DBD-5B961F44F7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">
            <a:extLst>
              <a:ext uri="{FF2B5EF4-FFF2-40B4-BE49-F238E27FC236}">
                <a16:creationId xmlns:a16="http://schemas.microsoft.com/office/drawing/2014/main" id="{EBCB520B-BBCB-4794-94CF-22462C9210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200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4C2A8D-AAAE-467E-B7A2-608CA8DA2A0E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0F370BE-CBD8-4B2D-89A0-D2F7F267D8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147F71C-A50C-413E-BE48-950D50726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5" name="Titel 1">
            <a:extLst>
              <a:ext uri="{FF2B5EF4-FFF2-40B4-BE49-F238E27FC236}">
                <a16:creationId xmlns:a16="http://schemas.microsoft.com/office/drawing/2014/main" id="{360CA8B4-A3A5-4264-994B-C61C3B042B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0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62AF949F-F2F7-4161-8F23-2B75ECA35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E3F3CB4A-04F0-4B0C-AEBA-09C1C9D18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27">
            <a:extLst>
              <a:ext uri="{FF2B5EF4-FFF2-40B4-BE49-F238E27FC236}">
                <a16:creationId xmlns:a16="http://schemas.microsoft.com/office/drawing/2014/main" id="{FB39B16D-EFDD-40CF-BD0A-A9159741D2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>
            <a:extLst>
              <a:ext uri="{FF2B5EF4-FFF2-40B4-BE49-F238E27FC236}">
                <a16:creationId xmlns:a16="http://schemas.microsoft.com/office/drawing/2014/main" id="{D889359C-2C7F-4B3D-9D89-3DCD1C2635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BE44EC99-C60E-438F-AA84-5B4DFB5F07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66D30C64-A201-41F4-9A3A-5E31014835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100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81</TotalTime>
  <Words>200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Opere seu equipamento com seguranç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7</cp:revision>
  <dcterms:created xsi:type="dcterms:W3CDTF">2018-02-10T17:04:39Z</dcterms:created>
  <dcterms:modified xsi:type="dcterms:W3CDTF">2021-05-18T12:2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2:22:2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